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 ?><Relationships xmlns="http://schemas.openxmlformats.org/package/2006/relationships"><Relationship Id="rId1" Type="http://schemas.openxmlformats.org/officeDocument/2006/relationships/officeDocument" Target="ppt/presentation.xml"  /><Relationship Id="rId2" Type="http://schemas.openxmlformats.org/package/2006/relationships/metadata/thumbnail" Target="docProps/thumbnail.jpeg"  /><Relationship Id="rId3" Type="http://schemas.openxmlformats.org/package/2006/relationships/metadata/core-properties" Target="docProps/core.xml"  /><Relationship Id="rId4" Type="http://schemas.openxmlformats.org/officeDocument/2006/relationships/extended-properties" Target="docProps/app.xml"  /><Relationship Id="rId5" Type="http://schemas.openxmlformats.org/officeDocument/2006/relationships/custom-properties" Target="docProps/custom.xml"  /></Relationships>
</file>

<file path=ppt/presentation.xml><?xml version="1.0" encoding="utf-8"?>
<p:presentation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ldMasterIdLst>
    <p:sldMasterId id="2147483648" r:id="rId1"/>
  </p:sldMasterIdLst>
  <p:sldIdLst>
    <p:sldId id="260" r:id="rId2"/>
    <p:sldId id="256" r:id="rId3"/>
    <p:sldId id="259" r:id="rId4"/>
    <p:sldId id="262" r:id="rId5"/>
    <p:sldId id="265" r:id="rId6"/>
    <p:sldId id="266" r:id="rId7"/>
    <p:sldId id="263" r:id="rId8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prnPr scaleToFitPaper="1"/>
</p:presentationPr>
</file>

<file path=ppt/tableStyles.xml><?xml version="1.0" encoding="utf-8"?>
<a:tblStyleLst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def="{5C22544A-7EE6-4342-B048-85BDC9FD1C3A}">
  <a:tblStyle styleId="{58739C0C-AB16-40ED-8C5A-176A687DF9E4}" styleName="Normal Style 1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lum val="90000"/>
            </a:schemeClr>
          </a:solidFill>
        </a:fill>
      </a:tcStyle>
    </a:wholeTbl>
    <a:band1H>
      <a:tcTxStyle/>
      <a:tcStyle>
        <a:tcBdr/>
        <a:fill>
          <a:solidFill>
            <a:schemeClr val="accent5">
              <a:lum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5">
              <a:lum val="8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2FFE23-0BB2-45EB-AA5A-FA1B39E901F1}" styleName="Normal Style 2 - Body/Background 2">
    <a:tblBg>
      <a:effectRef idx="1">
        <a:schemeClr val="dk1"/>
      </a:effectRef>
    </a:tblBg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dk1">
              <a:tint val="10000"/>
              <a:satMod val="530000"/>
            </a:schemeClr>
          </a:solidFill>
        </a:fill>
      </a:tcStyle>
    </a:wholeTbl>
    <a:band1H>
      <a:tcTxStyle/>
      <a:tcStyle>
        <a:tcBdr/>
        <a:fill>
          <a:solidFill>
            <a:schemeClr val="dk1">
              <a:tint val="30000"/>
              <a:satMod val="33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dk1">
              <a:tint val="20000"/>
              <a:satMod val="73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>
              <a:alpha val="90000"/>
              <a:satMod val="150000"/>
            </a:schemeClr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>
              <a:alpha val="90000"/>
              <a:satMod val="150000"/>
            </a:schemeClr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>
              <a:alpha val="50000"/>
              <a:satMod val="630000"/>
            </a:schemeClr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>
              <a:shade val="50000"/>
              <a:satMod val="230000"/>
            </a:schemeClr>
          </a:solidFill>
        </a:fill>
      </a:tcStyle>
    </a:firstRow>
  </a:tblStyle>
  <a:tblStyle styleId="{32344573-4499-4136-9432-9625E8DE034D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TxStyle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TxStyle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>
        <a:fontRef idx="minor">
          <a:scrgbClr r="0" g="0" b="0"/>
        </a:fontRef>
        <a:schemeClr val="accent5"/>
      </a:tcTxStyle>
      <a:tcStyle>
        <a:tcBdr>
          <a:top>
            <a:ln w="6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accent5">
          <a:shade val="40000"/>
        </a:schemeClr>
      </a:tcTxStyle>
      <a:tcStyle>
        <a:tcBdr/>
        <a:fill>
          <a:solidFill>
            <a:schemeClr val="accent5">
              <a:alpha val="40000"/>
            </a:schemeClr>
          </a:solidFill>
        </a:fill>
      </a:tcStyle>
    </a:firstRow>
  </a:tblStyle>
  <a:tblStyle styleId="{31957F85-BEA7-40E2-9F8C-1ACEA2CA17D2}" styleName="Normal Style 3 - Accent 1">
    <a:wholeTbl>
      <a:tcTxStyle>
        <a:fontRef idx="minor">
          <a:scrgbClr r="0" g="0" b="0"/>
        </a:fontRef>
        <a:schemeClr val="accen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>
        <a:fontRef idx="minor">
          <a:scrgbClr r="0" g="0" b="0"/>
        </a:fontRef>
        <a:schemeClr val="dk1"/>
      </a:tcTxStyle>
      <a:tcStyle>
        <a:tcBdr/>
        <a:fill>
          <a:solidFill>
            <a:schemeClr val="dk1">
              <a:lum val="80000"/>
            </a:schemeClr>
          </a:solidFill>
        </a:fill>
      </a:tcStyle>
    </a:band1H>
    <a:band1V>
      <a:tcTxStyle/>
      <a:tcStyle>
        <a:tcBdr/>
        <a:fill>
          <a:solidFill>
            <a:schemeClr val="dk1">
              <a:alpha val="25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scrgbClr r="0" g="0" b="0"/>
        </a:fontRef>
        <a:schemeClr val="accent1"/>
      </a:tcTxStyle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accent1"/>
      </a:tcTxStyle>
      <a:tcStyle>
        <a:tcBdr/>
      </a:tcStyle>
    </a:seCell>
    <a:swCell>
      <a:tcTxStyle b="on">
        <a:fontRef idx="minor">
          <a:scrgbClr r="0" g="0" b="0"/>
        </a:fontRef>
        <a:schemeClr val="accent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500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ED4B4AC-2101-42C7-AA1C-D91BBAF4E7D8}" styleName="Normal Style 2 - Accent 5">
    <a:tblBg>
      <a:effectRef idx="1">
        <a:schemeClr val="dk1"/>
      </a:effectRef>
    </a:tblBg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10000"/>
              <a:satMod val="530000"/>
            </a:schemeClr>
          </a:solidFill>
        </a:fill>
      </a:tcStyle>
    </a:wholeTbl>
    <a:band1H>
      <a:tcTxStyle/>
      <a:tcStyle>
        <a:tcBdr/>
        <a:fill>
          <a:solidFill>
            <a:schemeClr val="accent5">
              <a:tint val="30000"/>
              <a:satMod val="33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5">
              <a:tint val="20000"/>
              <a:satMod val="73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>
              <a:alpha val="90000"/>
              <a:satMod val="150000"/>
            </a:schemeClr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>
              <a:alpha val="90000"/>
              <a:satMod val="150000"/>
            </a:schemeClr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>
              <a:alpha val="50000"/>
              <a:satMod val="630000"/>
            </a:schemeClr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>
              <a:shade val="50000"/>
              <a:satMod val="230000"/>
            </a:schemeClr>
          </a:solidFill>
        </a:fill>
      </a:tcStyle>
    </a:firstRow>
  </a:tblStyle>
  <a:tblStyle styleId="{01A66EDD-3DAB-4C5B-A090-DC80EC1FD486}" styleName="Normal Style 1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lum val="9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lum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lum val="8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62A2DE9-F89E-4204-9AB8-F3013159B469}" styleName="Normal Style 3 - Accent 5">
    <a:wholeTbl>
      <a:tcTxStyle>
        <a:fontRef idx="minor">
          <a:scrgbClr r="0" g="0" b="0"/>
        </a:fontRef>
        <a:schemeClr val="accent5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>
        <a:fontRef idx="minor">
          <a:scrgbClr r="0" g="0" b="0"/>
        </a:fontRef>
        <a:schemeClr val="dk1"/>
      </a:tcTxStyle>
      <a:tcStyle>
        <a:tcBdr/>
        <a:fill>
          <a:solidFill>
            <a:schemeClr val="dk1">
              <a:lum val="80000"/>
            </a:schemeClr>
          </a:solidFill>
        </a:fill>
      </a:tcStyle>
    </a:band1H>
    <a:band1V>
      <a:tcTxStyle/>
      <a:tcStyle>
        <a:tcBdr/>
        <a:fill>
          <a:solidFill>
            <a:schemeClr val="dk1">
              <a:alpha val="25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scrgbClr r="0" g="0" b="0"/>
        </a:fontRef>
        <a:schemeClr val="accent5"/>
      </a:tcTxStyle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accent5"/>
      </a:tcTxStyle>
      <a:tcStyle>
        <a:tcBdr/>
      </a:tcStyle>
    </a:seCell>
    <a:swCell>
      <a:tcTxStyle b="on">
        <a:fontRef idx="minor">
          <a:scrgbClr r="0" g="0" b="0"/>
        </a:fontRef>
        <a:schemeClr val="accent5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500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0" d="100"/>
          <a:sy n="100" d="100"/>
        </p:scale>
        <p:origin x="-1644" y="-78"/>
      </p:cViewPr>
      <p:guideLst>
        <p:guide orient="horz" pos="2157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 ?><Relationships xmlns="http://schemas.openxmlformats.org/package/2006/relationships"><Relationship Id="rId1" Type="http://schemas.openxmlformats.org/officeDocument/2006/relationships/slideMaster" Target="slideMasters/slideMaster1.xml"  /><Relationship Id="rId10" Type="http://schemas.openxmlformats.org/officeDocument/2006/relationships/viewProps" Target="viewProps.xml"  /><Relationship Id="rId11" Type="http://schemas.openxmlformats.org/officeDocument/2006/relationships/theme" Target="theme/theme1.xml"  /><Relationship Id="rId12" Type="http://schemas.openxmlformats.org/officeDocument/2006/relationships/tableStyles" Target="tableStyles.xml"  /><Relationship Id="rId2" Type="http://schemas.openxmlformats.org/officeDocument/2006/relationships/slide" Target="slides/slide1.xml"  /><Relationship Id="rId3" Type="http://schemas.openxmlformats.org/officeDocument/2006/relationships/slide" Target="slides/slide2.xml"  /><Relationship Id="rId4" Type="http://schemas.openxmlformats.org/officeDocument/2006/relationships/slide" Target="slides/slide3.xml"  /><Relationship Id="rId5" Type="http://schemas.openxmlformats.org/officeDocument/2006/relationships/slide" Target="slides/slide4.xml"  /><Relationship Id="rId6" Type="http://schemas.openxmlformats.org/officeDocument/2006/relationships/slide" Target="slides/slide5.xml"  /><Relationship Id="rId7" Type="http://schemas.openxmlformats.org/officeDocument/2006/relationships/slide" Target="slides/slide6.xml"  /><Relationship Id="rId8" Type="http://schemas.openxmlformats.org/officeDocument/2006/relationships/slide" Target="slides/slide7.xml"  /><Relationship Id="rId9" Type="http://schemas.openxmlformats.org/officeDocument/2006/relationships/presProps" Target="presProps.xml"  /></Relationships>
</file>

<file path=ppt/drawings/_rels/vmlDrawing1.vml.rels><?xml version="1.0" encoding="UTF-8" standalone="yes" ?><Relationships xmlns="http://schemas.openxmlformats.org/package/2006/relationships"><Relationship Id="rId1" Type="http://schemas.openxmlformats.org/officeDocument/2006/relationships/image" Target="../media/image9.emf"  /></Relationships>
</file>

<file path=ppt/drawings/_rels/vmlDrawing2.vml.rels><?xml version="1.0" encoding="UTF-8" standalone="yes" ?><Relationships xmlns="http://schemas.openxmlformats.org/package/2006/relationships"><Relationship Id="rId1" Type="http://schemas.openxmlformats.org/officeDocument/2006/relationships/image" Target="../media/image9.emf"  /></Relationships>
</file>

<file path=ppt/slideLayouts/_rels/slideLayout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57041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2540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9475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3558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75406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13804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6295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57779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4381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7293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1138062"/>
      </p:ext>
    </p:extLst>
  </p:cSld>
  <p:clrMapOvr>
    <a:masterClrMapping/>
  </p:clrMapOvr>
</p:sldLayout>
</file>

<file path=ppt/slideMasters/_rels/slideMaster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10" Type="http://schemas.openxmlformats.org/officeDocument/2006/relationships/slideLayout" Target="../slideLayouts/slideLayout10.xml"  /><Relationship Id="rId11" Type="http://schemas.openxmlformats.org/officeDocument/2006/relationships/slideLayout" Target="../slideLayouts/slideLayout11.xml"  /><Relationship Id="rId12" Type="http://schemas.openxmlformats.org/officeDocument/2006/relationships/theme" Target="../theme/theme1.xml"  /><Relationship Id="rId2" Type="http://schemas.openxmlformats.org/officeDocument/2006/relationships/slideLayout" Target="../slideLayouts/slideLayout2.xml"  /><Relationship Id="rId3" Type="http://schemas.openxmlformats.org/officeDocument/2006/relationships/slideLayout" Target="../slideLayouts/slideLayout3.xml"  /><Relationship Id="rId4" Type="http://schemas.openxmlformats.org/officeDocument/2006/relationships/slideLayout" Target="../slideLayouts/slideLayout4.xml"  /><Relationship Id="rId5" Type="http://schemas.openxmlformats.org/officeDocument/2006/relationships/slideLayout" Target="../slideLayouts/slideLayout5.xml"  /><Relationship Id="rId6" Type="http://schemas.openxmlformats.org/officeDocument/2006/relationships/slideLayout" Target="../slideLayouts/slideLayout6.xml"  /><Relationship Id="rId7" Type="http://schemas.openxmlformats.org/officeDocument/2006/relationships/slideLayout" Target="../slideLayouts/slideLayout7.xml"  /><Relationship Id="rId8" Type="http://schemas.openxmlformats.org/officeDocument/2006/relationships/slideLayout" Target="../slideLayouts/slideLayout8.xml"  /><Relationship Id="rId9" Type="http://schemas.openxmlformats.org/officeDocument/2006/relationships/slideLayout" Target="../slideLayouts/slideLayout9.xml" 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0A4E52-1990-42CD-8342-E724F08C08F3}" type="datetimeFigureOut">
              <a:rPr lang="ko-KR" altLang="en-US" smtClean="0"/>
              <a:t>2020-0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60877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1.png"  /><Relationship Id="rId3" Type="http://schemas.openxmlformats.org/officeDocument/2006/relationships/image" Target="../media/image2.png"  /><Relationship Id="rId4" Type="http://schemas.openxmlformats.org/officeDocument/2006/relationships/image" Target="../media/image3.png"  /><Relationship Id="rId5" Type="http://schemas.openxmlformats.org/officeDocument/2006/relationships/image" Target="../media/image4.png"  /></Relationships>
</file>

<file path=ppt/slides/_rels/slide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2" Type="http://schemas.openxmlformats.org/officeDocument/2006/relationships/tags" Target="../tags/tag1.xml"  /><Relationship Id="rId3" Type="http://schemas.openxmlformats.org/officeDocument/2006/relationships/image" Target="../media/image5.png"  /><Relationship Id="rId4" Type="http://schemas.openxmlformats.org/officeDocument/2006/relationships/tags" Target="../tags/tag2.xml"  /><Relationship Id="rId5" Type="http://schemas.openxmlformats.org/officeDocument/2006/relationships/image" Target="../media/image6.png"  /><Relationship Id="rId6" Type="http://schemas.openxmlformats.org/officeDocument/2006/relationships/tags" Target="../tags/tag3.xml"  /><Relationship Id="rId7" Type="http://schemas.openxmlformats.org/officeDocument/2006/relationships/image" Target="../media/image7.png"  /><Relationship Id="rId8" Type="http://schemas.openxmlformats.org/officeDocument/2006/relationships/tags" Target="../tags/tag4.xml"  /><Relationship Id="rId9" Type="http://schemas.openxmlformats.org/officeDocument/2006/relationships/image" Target="../media/image8.png"  /></Relationships>
</file>

<file path=ppt/slides/_rels/slide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10" Type="http://schemas.openxmlformats.org/officeDocument/2006/relationships/tags" Target="../tags/tag8.xml"  /><Relationship Id="rId11" Type="http://schemas.openxmlformats.org/officeDocument/2006/relationships/image" Target="../media/image6.png"  /><Relationship Id="rId12" Type="http://schemas.openxmlformats.org/officeDocument/2006/relationships/image" Target="../media/image11.png"  /><Relationship Id="rId13" Type="http://schemas.openxmlformats.org/officeDocument/2006/relationships/image" Target="../media/image12.png"  /><Relationship Id="rId14" Type="http://schemas.openxmlformats.org/officeDocument/2006/relationships/image" Target="../media/image13.png"  /><Relationship Id="rId15" Type="http://schemas.openxmlformats.org/officeDocument/2006/relationships/image" Target="../media/image14.png"  /><Relationship Id="rId16" Type="http://schemas.openxmlformats.org/officeDocument/2006/relationships/image" Target="../media/image15.png"  /><Relationship Id="rId2" Type="http://schemas.openxmlformats.org/officeDocument/2006/relationships/vmlDrawing" Target="../drawings/vmlDrawing1.vml"  /><Relationship Id="rId3" Type="http://schemas.openxmlformats.org/officeDocument/2006/relationships/image" Target="../media/image10.png"  /><Relationship Id="rId4" Type="http://schemas.openxmlformats.org/officeDocument/2006/relationships/oleObject" Target="../embeddings/oleObject1.bin"  /><Relationship Id="rId5" Type="http://schemas.openxmlformats.org/officeDocument/2006/relationships/image" Target="../media/image9.emf"  /><Relationship Id="rId6" Type="http://schemas.openxmlformats.org/officeDocument/2006/relationships/tags" Target="../tags/tag5.xml"  /><Relationship Id="rId7" Type="http://schemas.openxmlformats.org/officeDocument/2006/relationships/tags" Target="../tags/tag6.xml"  /><Relationship Id="rId8" Type="http://schemas.openxmlformats.org/officeDocument/2006/relationships/tags" Target="../tags/tag7.xml"  /><Relationship Id="rId9" Type="http://schemas.openxmlformats.org/officeDocument/2006/relationships/image" Target="../media/image5.png"  /></Relationships>
</file>

<file path=ppt/slides/_rels/slide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10" Type="http://schemas.openxmlformats.org/officeDocument/2006/relationships/image" Target="../media/image16.png"  /><Relationship Id="rId2" Type="http://schemas.openxmlformats.org/officeDocument/2006/relationships/vmlDrawing" Target="../drawings/vmlDrawing2.vml"  /><Relationship Id="rId3" Type="http://schemas.openxmlformats.org/officeDocument/2006/relationships/tags" Target="../tags/tag9.xml"  /><Relationship Id="rId4" Type="http://schemas.openxmlformats.org/officeDocument/2006/relationships/oleObject" Target="../embeddings/oleObject2.bin"  /><Relationship Id="rId5" Type="http://schemas.openxmlformats.org/officeDocument/2006/relationships/image" Target="../media/image9.emf"  /><Relationship Id="rId6" Type="http://schemas.openxmlformats.org/officeDocument/2006/relationships/tags" Target="../tags/tag10.xml"  /><Relationship Id="rId7" Type="http://schemas.openxmlformats.org/officeDocument/2006/relationships/tags" Target="../tags/tag11.xml"  /><Relationship Id="rId8" Type="http://schemas.openxmlformats.org/officeDocument/2006/relationships/image" Target="../media/image3.png"  /><Relationship Id="rId9" Type="http://schemas.openxmlformats.org/officeDocument/2006/relationships/image" Target="../media/image4.png"  /></Relationships>
</file>

<file path=ppt/slides/_rels/slide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17.png"  /><Relationship Id="rId3" Type="http://schemas.openxmlformats.org/officeDocument/2006/relationships/image" Target="../media/image13.png"  /><Relationship Id="rId4" Type="http://schemas.openxmlformats.org/officeDocument/2006/relationships/image" Target="../media/image14.png"  /><Relationship Id="rId5" Type="http://schemas.openxmlformats.org/officeDocument/2006/relationships/image" Target="../media/image15.png"  /></Relationships>
</file>

<file path=ppt/slides/_rels/slide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/Relationships>
</file>

<file path=ppt/slides/_rels/slide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1.png"  /><Relationship Id="rId3" Type="http://schemas.openxmlformats.org/officeDocument/2006/relationships/image" Target="../media/image2.png"  /><Relationship Id="rId4" Type="http://schemas.openxmlformats.org/officeDocument/2006/relationships/image" Target="../media/image3.png"  /><Relationship Id="rId5" Type="http://schemas.openxmlformats.org/officeDocument/2006/relationships/image" Target="../media/image4.png"  /></Relationships>
</file>

<file path=ppt/slides/slide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-5718" y="0"/>
            <a:ext cx="9144000" cy="476672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Picture 8" descr="Sun icon"/>
          <p:cNvPicPr>
            <a:picLocks noChangeAspect="1" noChangeArrowheads="1"/>
          </p:cNvPicPr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2119164" y="4000609"/>
            <a:ext cx="914400" cy="914401"/>
          </a:xfrm>
          <a:prstGeom prst="rect">
            <a:avLst/>
          </a:prstGeom>
          <a:noFill/>
        </p:spPr>
      </p:pic>
      <p:pic>
        <p:nvPicPr>
          <p:cNvPr id="5" name="Picture 10" descr="Rainbow icon"/>
          <p:cNvPicPr>
            <a:picLocks noChangeAspect="1" noChangeArrowheads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3400770" y="4000610"/>
            <a:ext cx="914400" cy="914401"/>
          </a:xfrm>
          <a:prstGeom prst="rect">
            <a:avLst/>
          </a:prstGeom>
          <a:noFill/>
        </p:spPr>
      </p:pic>
      <p:pic>
        <p:nvPicPr>
          <p:cNvPr id="6" name="Picture 12" descr="Moon and Sun icon"/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5918137" y="4025567"/>
            <a:ext cx="914400" cy="914401"/>
          </a:xfrm>
          <a:prstGeom prst="rect">
            <a:avLst/>
          </a:prstGeom>
          <a:noFill/>
        </p:spPr>
      </p:pic>
      <p:pic>
        <p:nvPicPr>
          <p:cNvPr id="7" name="Picture 14" descr="Moon and Stars icon"/>
          <p:cNvPicPr>
            <a:picLocks noChangeAspect="1" noChangeArrowheads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4697023" y="3998957"/>
            <a:ext cx="914400" cy="914401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619540" y="1315239"/>
            <a:ext cx="7904920" cy="20417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ko-KR" altLang="en-US" sz="6400">
                <a:solidFill>
                  <a:srgbClr val="002060"/>
                </a:solidFill>
                <a:latin typeface="배달의민족 주아 OTF"/>
                <a:ea typeface="배달의민족 주아 OTF"/>
              </a:rPr>
              <a:t>왜왜</a:t>
            </a:r>
            <a:endParaRPr lang="ko-KR" altLang="en-US" sz="6400">
              <a:solidFill>
                <a:srgbClr val="002060"/>
              </a:solidFill>
              <a:latin typeface="배달의민족 주아 OTF"/>
              <a:ea typeface="배달의민족 주아 OTF"/>
            </a:endParaRPr>
          </a:p>
          <a:p>
            <a:pPr lvl="0" algn="ctr">
              <a:defRPr/>
            </a:pPr>
            <a:r>
              <a:rPr lang="en-US" altLang="ko-KR" sz="6400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</a:t>
            </a:r>
            <a:endParaRPr lang="en-US" altLang="ko-KR" sz="640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4716016" y="4935061"/>
            <a:ext cx="936104" cy="366147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김효정</a:t>
            </a:r>
            <a:endParaRPr xmlns:mc="http://schemas.openxmlformats.org/markup-compatibility/2006" xmlns:hp="http://schemas.haansoft.com/office/presentation/8.0" kumimoji="0" lang="ko-KR" altLang="en-US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5940152" y="4935061"/>
            <a:ext cx="936104" cy="366147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김민석</a:t>
            </a: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12" name="TextBox 7"/>
          <p:cNvSpPr txBox="1"/>
          <p:nvPr/>
        </p:nvSpPr>
        <p:spPr>
          <a:xfrm>
            <a:off x="3347864" y="4935061"/>
            <a:ext cx="1008112" cy="366147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이주희</a:t>
            </a: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13" name="TextBox 7"/>
          <p:cNvSpPr txBox="1"/>
          <p:nvPr/>
        </p:nvSpPr>
        <p:spPr>
          <a:xfrm>
            <a:off x="2123728" y="4935061"/>
            <a:ext cx="1008112" cy="366147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임민영</a:t>
            </a: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14" name="TextBox 7"/>
          <p:cNvSpPr txBox="1"/>
          <p:nvPr/>
        </p:nvSpPr>
        <p:spPr>
          <a:xfrm>
            <a:off x="6948264" y="5789944"/>
            <a:ext cx="2160240" cy="519375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4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객체지향프로그래밍 </a:t>
            </a:r>
            <a:r>
              <a:rPr xmlns:mc="http://schemas.openxmlformats.org/markup-compatibility/2006" xmlns:hp="http://schemas.haansoft.com/office/presentation/8.0" kumimoji="0" lang="en-US" altLang="ko-KR" sz="14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2</a:t>
            </a:r>
            <a:endParaRPr xmlns:mc="http://schemas.openxmlformats.org/markup-compatibility/2006" xmlns:hp="http://schemas.haansoft.com/office/presentation/8.0" kumimoji="0" lang="en-US" altLang="ko-KR" sz="14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  <a:p>
            <a:pPr marL="0" lvl="0" indent="0" algn="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4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지도교수</a:t>
            </a:r>
            <a:r>
              <a:rPr xmlns:mc="http://schemas.openxmlformats.org/markup-compatibility/2006" xmlns:hp="http://schemas.haansoft.com/office/presentation/8.0" kumimoji="0" lang="en-US" altLang="ko-KR" sz="14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14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차상진</a:t>
            </a:r>
            <a:endParaRPr xmlns:mc="http://schemas.openxmlformats.org/markup-compatibility/2006" xmlns:hp="http://schemas.haansoft.com/office/presentation/8.0" kumimoji="0" lang="ko-KR" altLang="en-US" sz="14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</p:spTree>
    <p:extLst>
      <p:ext uri="{BB962C8B-B14F-4D97-AF65-F5344CB8AC3E}">
        <p14:creationId xmlns:p14="http://schemas.microsoft.com/office/powerpoint/2010/main" val="24508833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Pr shadeToTitle="0">
        <a:solidFill>
          <a:srgbClr val="d1fd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5576" y="764704"/>
            <a:ext cx="7632848" cy="8240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4800">
                <a:solidFill>
                  <a:srgbClr val="002060"/>
                </a:solidFill>
                <a:latin typeface="배달의민족 주아 OTF"/>
                <a:ea typeface="배달의민족 주아 OTF"/>
              </a:rPr>
              <a:t>조 소개</a:t>
            </a:r>
            <a:r>
              <a:rPr lang="en-US" altLang="ko-KR" sz="4800">
                <a:solidFill>
                  <a:srgbClr val="002060"/>
                </a:solidFill>
                <a:latin typeface="배달의민족 주아 OTF"/>
                <a:ea typeface="배달의민족 주아 OTF"/>
              </a:rPr>
              <a:t> :: </a:t>
            </a:r>
            <a:r>
              <a:rPr lang="ko-KR" altLang="en-US" sz="4800">
                <a:solidFill>
                  <a:srgbClr val="002060"/>
                </a:solidFill>
                <a:latin typeface="배달의민족 주아 OTF"/>
                <a:ea typeface="배달의민족 주아 OTF"/>
              </a:rPr>
              <a:t>해맑조☀</a:t>
            </a:r>
            <a:endParaRPr lang="ko-KR" altLang="en-US" sz="480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>
          <a:xfrm>
            <a:off x="778024" y="2029490"/>
            <a:ext cx="7587952" cy="3919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/>
          <p:cNvSpPr/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8" descr="Sun icon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534" y="4143229"/>
            <a:ext cx="624548" cy="62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Rainbow icon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534" y="5108707"/>
            <a:ext cx="624548" cy="62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Moon and Sun icon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534" y="2325352"/>
            <a:ext cx="624548" cy="62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4" descr="Moon and Stars icon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534" y="3239753"/>
            <a:ext cx="624548" cy="62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979712" y="2399099"/>
            <a:ext cx="4392488" cy="466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배달의민족 주아 OTF"/>
                <a:ea typeface="배달의민족 주아 OTF"/>
              </a:rPr>
              <a:t>김민석</a:t>
            </a:r>
            <a:r>
              <a:rPr lang="en-US" altLang="ko-KR" sz="2500">
                <a:latin typeface="배달의민족 주아 OTF"/>
                <a:ea typeface="배달의민족 주아 OTF"/>
              </a:rPr>
              <a:t> == </a:t>
            </a:r>
            <a:r>
              <a:rPr lang="ko-KR" altLang="en-US" sz="2500">
                <a:latin typeface="배달의민족 주아 OTF"/>
                <a:ea typeface="배달의민족 주아 OTF"/>
              </a:rPr>
              <a:t>조장</a:t>
            </a:r>
            <a:endParaRPr lang="ko-KR" altLang="en-US" sz="2500">
              <a:latin typeface="배달의민족 주아 OTF"/>
              <a:ea typeface="배달의민족 주아 OTF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979712" y="3313500"/>
            <a:ext cx="4392488" cy="4660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배달의민족 주아 OTF"/>
                <a:ea typeface="배달의민족 주아 OTF"/>
              </a:rPr>
              <a:t>김효정</a:t>
            </a:r>
            <a:r>
              <a:rPr lang="en-US" altLang="ko-KR" sz="2500">
                <a:latin typeface="배달의민족 주아 OTF"/>
                <a:ea typeface="배달의민족 주아 OTF"/>
              </a:rPr>
              <a:t> == </a:t>
            </a:r>
            <a:r>
              <a:rPr lang="ko-KR" altLang="en-US" sz="2500">
                <a:latin typeface="배달의민족 주아 OTF"/>
                <a:ea typeface="배달의민족 주아 OTF"/>
              </a:rPr>
              <a:t>리소스</a:t>
            </a:r>
            <a:endParaRPr lang="ko-KR" altLang="en-US" sz="2500">
              <a:latin typeface="배달의민족 주아 OTF"/>
              <a:ea typeface="배달의민족 주아 OTF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79712" y="4227901"/>
            <a:ext cx="4392488" cy="466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배달의민족 주아 OTF"/>
                <a:ea typeface="배달의민족 주아 OTF"/>
              </a:rPr>
              <a:t>임민영</a:t>
            </a:r>
            <a:r>
              <a:rPr lang="en-US" altLang="ko-KR" sz="2500">
                <a:latin typeface="배달의민족 주아 OTF"/>
                <a:ea typeface="배달의민족 주아 OTF"/>
              </a:rPr>
              <a:t> == </a:t>
            </a:r>
            <a:r>
              <a:rPr lang="ko-KR" altLang="en-US" sz="2500">
                <a:latin typeface="배달의민족 주아 OTF"/>
                <a:ea typeface="배달의민족 주아 OTF"/>
              </a:rPr>
              <a:t>검증</a:t>
            </a:r>
            <a:endParaRPr lang="ko-KR" altLang="en-US" sz="2500">
              <a:latin typeface="배달의민족 주아 OTF"/>
              <a:ea typeface="배달의민족 주아 OTF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79712" y="5142302"/>
            <a:ext cx="4392488" cy="4660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배달의민족 주아 OTF"/>
                <a:ea typeface="배달의민족 주아 OTF"/>
              </a:rPr>
              <a:t>이주희</a:t>
            </a:r>
            <a:r>
              <a:rPr lang="en-US" altLang="ko-KR" sz="2500">
                <a:latin typeface="배달의민족 주아 OTF"/>
                <a:ea typeface="배달의민족 주아 OTF"/>
              </a:rPr>
              <a:t> == </a:t>
            </a:r>
            <a:r>
              <a:rPr lang="ko-KR" altLang="en-US" sz="2500">
                <a:latin typeface="배달의민족 주아 OTF"/>
                <a:ea typeface="배달의민족 주아 OTF"/>
              </a:rPr>
              <a:t>기획</a:t>
            </a:r>
            <a:endParaRPr lang="ko-KR" altLang="en-US" sz="2500">
              <a:latin typeface="배달의민족 주아 OTF"/>
              <a:ea typeface="배달의민족 주아 OTF"/>
            </a:endParaRPr>
          </a:p>
        </p:txBody>
      </p:sp>
    </p:spTree>
    <p:extLst>
      <p:ext uri="{BB962C8B-B14F-4D97-AF65-F5344CB8AC3E}">
        <p14:creationId xmlns:p14="http://schemas.microsoft.com/office/powerpoint/2010/main" val="41948039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5076056" y="4077072"/>
            <a:ext cx="2006352" cy="2078359"/>
          </a:xfrm>
          <a:prstGeom prst="rect">
            <a:avLst/>
          </a:prstGeom>
        </p:spPr>
      </p:pic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285265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/>
          <p:cNvSpPr/>
          <p:nvPr>
            <p:custDataLst>
              <p:tags r:id="rId7"/>
            </p:custDataLst>
          </p:nvPr>
        </p:nvSpPr>
        <p:spPr>
          <a:xfrm>
            <a:off x="-5718" y="0"/>
            <a:ext cx="2849526" cy="6858000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오각형 1"/>
          <p:cNvSpPr/>
          <p:nvPr>
            <p:custDataLst>
              <p:tags r:id="rId8"/>
            </p:custDataLst>
          </p:nvPr>
        </p:nvSpPr>
        <p:spPr>
          <a:xfrm>
            <a:off x="-15245" y="188640"/>
            <a:ext cx="3862388" cy="844454"/>
          </a:xfrm>
          <a:prstGeom prst="homePlate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-36512" y="166014"/>
            <a:ext cx="34260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ko-KR" altLang="en-US" sz="4800">
                <a:solidFill>
                  <a:srgbClr val="002060"/>
                </a:solidFill>
                <a:latin typeface="배달의민족 주아 OTF"/>
                <a:ea typeface="배달의민족 주아 OTF"/>
              </a:rPr>
              <a:t>왜왜</a:t>
            </a:r>
            <a:r>
              <a:rPr lang="en-US" altLang="ko-KR" sz="4800">
                <a:solidFill>
                  <a:srgbClr val="002060"/>
                </a:solidFill>
                <a:latin typeface="배달의민족 주아 OTF"/>
                <a:ea typeface="배달의민족 주아 OTF"/>
              </a:rPr>
              <a:t>?</a:t>
            </a:r>
            <a:endParaRPr lang="en-US" altLang="ko-KR" sz="480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pic>
        <p:nvPicPr>
          <p:cNvPr id="7" name="Picture 8" descr="Sun icon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058" y="5517231"/>
            <a:ext cx="914400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Rainbow icon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5517232"/>
            <a:ext cx="914400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995936" y="166014"/>
            <a:ext cx="5040560" cy="9084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5400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!</a:t>
            </a:r>
            <a:endParaRPr lang="en-US" altLang="ko-KR" sz="540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pic>
        <p:nvPicPr>
          <p:cNvPr id="29" name=""/>
          <p:cNvPicPr>
            <a:picLocks noChangeAspect="1"/>
          </p:cNvPicPr>
          <p:nvPr/>
        </p:nvPicPr>
        <p:blipFill rotWithShape="1">
          <a:blip r:embed="rId13"/>
          <a:stretch>
            <a:fillRect/>
          </a:stretch>
        </p:blipFill>
        <p:spPr>
          <a:xfrm>
            <a:off x="3995936" y="1700808"/>
            <a:ext cx="1152128" cy="1152128"/>
          </a:xfrm>
          <a:prstGeom prst="rect">
            <a:avLst/>
          </a:prstGeom>
        </p:spPr>
      </p:pic>
      <p:pic>
        <p:nvPicPr>
          <p:cNvPr id="30" name=""/>
          <p:cNvPicPr>
            <a:picLocks noChangeAspect="1"/>
          </p:cNvPicPr>
          <p:nvPr/>
        </p:nvPicPr>
        <p:blipFill rotWithShape="1">
          <a:blip r:embed="rId14"/>
          <a:stretch>
            <a:fillRect/>
          </a:stretch>
        </p:blipFill>
        <p:spPr>
          <a:xfrm>
            <a:off x="6876256" y="1556792"/>
            <a:ext cx="1440160" cy="1480683"/>
          </a:xfrm>
          <a:prstGeom prst="rect">
            <a:avLst/>
          </a:prstGeom>
        </p:spPr>
      </p:pic>
      <p:sp>
        <p:nvSpPr>
          <p:cNvPr id="31" name=""/>
          <p:cNvSpPr/>
          <p:nvPr/>
        </p:nvSpPr>
        <p:spPr>
          <a:xfrm>
            <a:off x="5724128" y="1844824"/>
            <a:ext cx="648072" cy="648072"/>
          </a:xfrm>
          <a:prstGeom prst="mathPlus">
            <a:avLst>
              <a:gd name="adj1" fmla="val 2352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lvl="0" algn="ctr">
              <a:defRPr/>
            </a:pPr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3" name=""/>
          <p:cNvSpPr/>
          <p:nvPr/>
        </p:nvSpPr>
        <p:spPr>
          <a:xfrm>
            <a:off x="5868144" y="3068960"/>
            <a:ext cx="360040" cy="648072"/>
          </a:xfrm>
          <a:prstGeom prst="downArrow">
            <a:avLst>
              <a:gd name="adj1" fmla="val 50000"/>
              <a:gd name="adj2" fmla="val 5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lvl="0" algn="ctr">
              <a:defRPr/>
            </a:pPr>
            <a:endParaRPr lang="ko-KR" altLang="en-US"/>
          </a:p>
        </p:txBody>
      </p:sp>
      <p:pic>
        <p:nvPicPr>
          <p:cNvPr id="35" name=""/>
          <p:cNvPicPr>
            <a:picLocks noChangeAspect="1"/>
          </p:cNvPicPr>
          <p:nvPr/>
        </p:nvPicPr>
        <p:blipFill rotWithShape="1">
          <a:blip r:embed="rId15"/>
          <a:stretch>
            <a:fillRect/>
          </a:stretch>
        </p:blipFill>
        <p:spPr>
          <a:xfrm>
            <a:off x="5868144" y="5229200"/>
            <a:ext cx="432048" cy="432048"/>
          </a:xfrm>
          <a:prstGeom prst="rect">
            <a:avLst/>
          </a:prstGeom>
        </p:spPr>
      </p:pic>
      <p:pic>
        <p:nvPicPr>
          <p:cNvPr id="37" name=""/>
          <p:cNvPicPr>
            <a:picLocks noChangeAspect="1"/>
          </p:cNvPicPr>
          <p:nvPr/>
        </p:nvPicPr>
        <p:blipFill rotWithShape="1">
          <a:blip r:embed="rId16"/>
          <a:stretch>
            <a:fillRect/>
          </a:stretch>
        </p:blipFill>
        <p:spPr>
          <a:xfrm>
            <a:off x="5724128" y="4509120"/>
            <a:ext cx="679841" cy="57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730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Pr shadeToTitle="0">
        <a:solidFill>
          <a:srgbClr val="d1fd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926246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/>
          <p:cNvSpPr/>
          <p:nvPr>
            <p:custDataLst>
              <p:tags r:id="rId6"/>
            </p:custDataLst>
          </p:nvPr>
        </p:nvSpPr>
        <p:spPr>
          <a:xfrm>
            <a:off x="-5718" y="0"/>
            <a:ext cx="284952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오각형 1"/>
          <p:cNvSpPr/>
          <p:nvPr>
            <p:custDataLst>
              <p:tags r:id="rId7"/>
            </p:custDataLst>
          </p:nvPr>
        </p:nvSpPr>
        <p:spPr>
          <a:xfrm>
            <a:off x="-15245" y="188640"/>
            <a:ext cx="3862388" cy="844454"/>
          </a:xfrm>
          <a:prstGeom prst="homePlate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-36512" y="166014"/>
            <a:ext cx="34260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ko-KR" altLang="en-US" sz="4800">
                <a:solidFill>
                  <a:srgbClr val="002060"/>
                </a:solidFill>
                <a:latin typeface="Sandoll 네모니2 09 Oblique Bd"/>
                <a:ea typeface="Sandoll 네모니2 09 Oblique Bd"/>
              </a:rPr>
              <a:t>왜왜</a:t>
            </a:r>
            <a:r>
              <a:rPr lang="en-US" altLang="ko-KR" sz="4800">
                <a:solidFill>
                  <a:srgbClr val="002060"/>
                </a:solidFill>
                <a:latin typeface="Sandoll 네모니2 09 Oblique Bd"/>
                <a:ea typeface="Sandoll 네모니2 09 Oblique Bd"/>
              </a:rPr>
              <a:t>?</a:t>
            </a:r>
            <a:endParaRPr lang="en-US" altLang="ko-KR" sz="4800">
              <a:solidFill>
                <a:srgbClr val="002060"/>
              </a:solidFill>
              <a:latin typeface="Sandoll 네모니2 09 Oblique Bd"/>
              <a:ea typeface="Sandoll 네모니2 09 Oblique Bd"/>
            </a:endParaRPr>
          </a:p>
        </p:txBody>
      </p:sp>
      <p:pic>
        <p:nvPicPr>
          <p:cNvPr id="7" name="Picture 12" descr="Moon and Sun icon"/>
          <p:cNvPicPr>
            <a:picLocks noChangeAspect="1" noChangeArrowheads="1"/>
          </p:cNvPicPr>
          <p:nvPr/>
        </p:nvPicPr>
        <p:blipFill rotWithShape="1">
          <a:blip r:embed="rId8"/>
          <a:srcRect/>
          <a:stretch>
            <a:fillRect/>
          </a:stretch>
        </p:blipFill>
        <p:spPr>
          <a:xfrm>
            <a:off x="1544642" y="5466927"/>
            <a:ext cx="914400" cy="914401"/>
          </a:xfrm>
          <a:prstGeom prst="rect">
            <a:avLst/>
          </a:prstGeom>
          <a:noFill/>
        </p:spPr>
      </p:pic>
      <p:pic>
        <p:nvPicPr>
          <p:cNvPr id="8" name="Picture 14" descr="Moon and Stars icon"/>
          <p:cNvPicPr>
            <a:picLocks noChangeAspect="1" noChangeArrowheads="1"/>
          </p:cNvPicPr>
          <p:nvPr/>
        </p:nvPicPr>
        <p:blipFill rotWithShape="1">
          <a:blip r:embed="rId9"/>
          <a:srcRect/>
          <a:stretch>
            <a:fillRect/>
          </a:stretch>
        </p:blipFill>
        <p:spPr>
          <a:xfrm>
            <a:off x="323528" y="5440317"/>
            <a:ext cx="914400" cy="914401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3995936" y="166014"/>
            <a:ext cx="5040560" cy="9084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5400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!</a:t>
            </a:r>
            <a:endParaRPr lang="en-US" altLang="ko-KR" sz="540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pic>
        <p:nvPicPr>
          <p:cNvPr id="17" name=""/>
          <p:cNvPicPr>
            <a:picLocks noChangeAspect="1"/>
          </p:cNvPicPr>
          <p:nvPr/>
        </p:nvPicPr>
        <p:blipFill rotWithShape="1">
          <a:blip r:embed="rId10"/>
          <a:stretch>
            <a:fillRect/>
          </a:stretch>
        </p:blipFill>
        <p:spPr>
          <a:xfrm>
            <a:off x="4211960" y="1368151"/>
            <a:ext cx="3528495" cy="5085184"/>
          </a:xfrm>
          <a:prstGeom prst="roundRect">
            <a:avLst>
              <a:gd name="adj" fmla="val 16667"/>
            </a:avLst>
          </a:prstGeom>
        </p:spPr>
      </p:pic>
    </p:spTree>
    <p:extLst>
      <p:ext uri="{BB962C8B-B14F-4D97-AF65-F5344CB8AC3E}">
        <p14:creationId xmlns:p14="http://schemas.microsoft.com/office/powerpoint/2010/main" val="18877861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-5718" y="0"/>
            <a:ext cx="9144000" cy="476672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15" name="TextBox 9"/>
          <p:cNvSpPr txBox="1"/>
          <p:nvPr/>
        </p:nvSpPr>
        <p:spPr>
          <a:xfrm>
            <a:off x="107504" y="545674"/>
            <a:ext cx="2664296" cy="366821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 :: </a:t>
            </a:r>
            <a:r>
              <a:rPr xmlns:mc="http://schemas.openxmlformats.org/markup-compatibility/2006" xmlns:hp="http://schemas.haansoft.com/office/presentation/8.0" kumimoji="0" lang="ko-KR" altLang="en-US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구조도</a:t>
            </a:r>
            <a:endParaRPr xmlns:mc="http://schemas.openxmlformats.org/markup-compatibility/2006" xmlns:hp="http://schemas.haansoft.com/office/presentation/8.0" kumimoji="0" lang="ko-KR" altLang="en-US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17" name=""/>
          <p:cNvSpPr/>
          <p:nvPr/>
        </p:nvSpPr>
        <p:spPr>
          <a:xfrm>
            <a:off x="1691680" y="1484784"/>
            <a:ext cx="1224136" cy="360040"/>
          </a:xfrm>
          <a:prstGeom prst="roundRect">
            <a:avLst>
              <a:gd name="adj" fmla="val 16667"/>
            </a:avLst>
          </a:prstGeom>
          <a:noFill/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lvl="0" algn="ctr">
              <a:defRPr/>
            </a:pPr>
            <a:r>
              <a:rPr lang="en-US" altLang="ko-KR" sz="1400">
                <a:solidFill>
                  <a:schemeClr val="tx1"/>
                </a:solidFill>
              </a:rPr>
              <a:t>GPSTracker</a:t>
            </a:r>
            <a:endParaRPr lang="en-US" altLang="ko-KR" sz="1400">
              <a:solidFill>
                <a:schemeClr val="tx1"/>
              </a:solidFill>
            </a:endParaRPr>
          </a:p>
        </p:txBody>
      </p:sp>
      <p:sp>
        <p:nvSpPr>
          <p:cNvPr id="18" name=""/>
          <p:cNvSpPr/>
          <p:nvPr/>
        </p:nvSpPr>
        <p:spPr>
          <a:xfrm>
            <a:off x="4499992" y="1484784"/>
            <a:ext cx="1080120" cy="360040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GPSToGrid</a:t>
            </a:r>
            <a:endParaRPr xmlns:mc="http://schemas.openxmlformats.org/markup-compatibility/2006" xmlns:hp="http://schemas.haansoft.com/office/presentation/8.0" kumimoji="0" lang="en-US" altLang="ko-KR" sz="14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19" name="TextBox 9"/>
          <p:cNvSpPr txBox="1"/>
          <p:nvPr/>
        </p:nvSpPr>
        <p:spPr>
          <a:xfrm>
            <a:off x="3347864" y="1556792"/>
            <a:ext cx="864096" cy="260578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위도</a:t>
            </a:r>
            <a:r>
              <a: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경도</a:t>
            </a:r>
            <a:endPara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20" name="TextBox 9"/>
          <p:cNvSpPr txBox="1"/>
          <p:nvPr/>
        </p:nvSpPr>
        <p:spPr>
          <a:xfrm>
            <a:off x="179512" y="1484784"/>
            <a:ext cx="1224136" cy="419060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사용자 위치</a:t>
            </a:r>
            <a:endPara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(</a:t>
            </a: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권한 필요</a:t>
            </a:r>
            <a:r>
              <a: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)</a:t>
            </a:r>
            <a:endPara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21" name="TextBox 9"/>
          <p:cNvSpPr txBox="1"/>
          <p:nvPr/>
        </p:nvSpPr>
        <p:spPr>
          <a:xfrm>
            <a:off x="4427984" y="2380536"/>
            <a:ext cx="1224136" cy="256376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기상청 격자 좌표</a:t>
            </a:r>
            <a:endPara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26" name=""/>
          <p:cNvSpPr/>
          <p:nvPr/>
        </p:nvSpPr>
        <p:spPr>
          <a:xfrm>
            <a:off x="5580112" y="3212976"/>
            <a:ext cx="1656184" cy="864096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8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GetWeather</a:t>
            </a:r>
            <a:endParaRPr xmlns:mc="http://schemas.openxmlformats.org/markup-compatibility/2006" xmlns:hp="http://schemas.haansoft.com/office/presentation/8.0" kumimoji="0" lang="en-US" altLang="ko-KR" sz="18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7" name="TextBox 9"/>
          <p:cNvSpPr txBox="1"/>
          <p:nvPr/>
        </p:nvSpPr>
        <p:spPr>
          <a:xfrm>
            <a:off x="3779912" y="3247251"/>
            <a:ext cx="1368152" cy="757813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날짜</a:t>
            </a:r>
            <a:endPara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YYYYMMDD</a:t>
            </a:r>
            <a:endPara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시간</a:t>
            </a:r>
            <a:endPara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HHMM</a:t>
            </a:r>
            <a:endParaRPr xmlns:mc="http://schemas.openxmlformats.org/markup-compatibility/2006" xmlns:hp="http://schemas.haansoft.com/office/presentation/8.0" kumimoji="0" lang="en-US" altLang="ko-KR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28" name=""/>
          <p:cNvSpPr/>
          <p:nvPr/>
        </p:nvSpPr>
        <p:spPr>
          <a:xfrm>
            <a:off x="2195736" y="3429000"/>
            <a:ext cx="936104" cy="360040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GetTime</a:t>
            </a:r>
            <a:endParaRPr xmlns:mc="http://schemas.openxmlformats.org/markup-compatibility/2006" xmlns:hp="http://schemas.haansoft.com/office/presentation/8.0" kumimoji="0" lang="en-US" altLang="ko-KR" sz="14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9" name="TextBox 9"/>
          <p:cNvSpPr txBox="1"/>
          <p:nvPr/>
        </p:nvSpPr>
        <p:spPr>
          <a:xfrm>
            <a:off x="611559" y="3501008"/>
            <a:ext cx="864097" cy="259462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현재 시간</a:t>
            </a:r>
            <a:endPara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35" name="TextBox 9"/>
          <p:cNvSpPr txBox="1"/>
          <p:nvPr/>
        </p:nvSpPr>
        <p:spPr>
          <a:xfrm>
            <a:off x="4427984" y="4149080"/>
            <a:ext cx="864096" cy="261000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서비스 키</a:t>
            </a:r>
            <a:endPara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pic>
        <p:nvPicPr>
          <p:cNvPr id="37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7956376" y="3212976"/>
            <a:ext cx="936103" cy="936103"/>
          </a:xfrm>
          <a:prstGeom prst="rect">
            <a:avLst/>
          </a:prstGeom>
        </p:spPr>
      </p:pic>
      <p:cxnSp>
        <p:nvCxnSpPr>
          <p:cNvPr id="38" name=""/>
          <p:cNvCxnSpPr/>
          <p:nvPr/>
        </p:nvCxnSpPr>
        <p:spPr>
          <a:xfrm>
            <a:off x="1115616" y="1700808"/>
            <a:ext cx="43204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"/>
          <p:cNvCxnSpPr/>
          <p:nvPr/>
        </p:nvCxnSpPr>
        <p:spPr>
          <a:xfrm>
            <a:off x="2987824" y="1700808"/>
            <a:ext cx="28803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"/>
          <p:cNvCxnSpPr/>
          <p:nvPr/>
        </p:nvCxnSpPr>
        <p:spPr>
          <a:xfrm>
            <a:off x="4139952" y="1700808"/>
            <a:ext cx="288032" cy="0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cxnSp>
        <p:nvCxnSpPr>
          <p:cNvPr id="42" name=""/>
          <p:cNvCxnSpPr/>
          <p:nvPr/>
        </p:nvCxnSpPr>
        <p:spPr>
          <a:xfrm>
            <a:off x="1547664" y="3645024"/>
            <a:ext cx="28803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"/>
          <p:cNvCxnSpPr/>
          <p:nvPr/>
        </p:nvCxnSpPr>
        <p:spPr>
          <a:xfrm>
            <a:off x="3347864" y="3645024"/>
            <a:ext cx="2160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"/>
          <p:cNvCxnSpPr>
            <a:stCxn id="21" idx="2"/>
          </p:cNvCxnSpPr>
          <p:nvPr/>
        </p:nvCxnSpPr>
        <p:spPr>
          <a:xfrm rot="16200000" flipH="1">
            <a:off x="4770022" y="2906942"/>
            <a:ext cx="936104" cy="3960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"/>
          <p:cNvCxnSpPr/>
          <p:nvPr/>
        </p:nvCxnSpPr>
        <p:spPr>
          <a:xfrm rot="5400000" flipH="1" flipV="1">
            <a:off x="5112060" y="3825044"/>
            <a:ext cx="36004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"/>
          <p:cNvCxnSpPr/>
          <p:nvPr/>
        </p:nvCxnSpPr>
        <p:spPr>
          <a:xfrm>
            <a:off x="4932040" y="3645024"/>
            <a:ext cx="360040" cy="0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cxnSp>
        <p:nvCxnSpPr>
          <p:cNvPr id="48" name=""/>
          <p:cNvCxnSpPr/>
          <p:nvPr/>
        </p:nvCxnSpPr>
        <p:spPr>
          <a:xfrm>
            <a:off x="7452320" y="3717032"/>
            <a:ext cx="360040" cy="0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sp>
        <p:nvSpPr>
          <p:cNvPr id="49" name="TextBox 9"/>
          <p:cNvSpPr txBox="1"/>
          <p:nvPr/>
        </p:nvSpPr>
        <p:spPr>
          <a:xfrm>
            <a:off x="8028384" y="4365104"/>
            <a:ext cx="792088" cy="262141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날씨 정보</a:t>
            </a:r>
            <a:endPara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pic>
        <p:nvPicPr>
          <p:cNvPr id="50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7092280" y="980728"/>
            <a:ext cx="949898" cy="976627"/>
          </a:xfrm>
          <a:prstGeom prst="rect">
            <a:avLst/>
          </a:prstGeom>
        </p:spPr>
      </p:pic>
      <p:cxnSp>
        <p:nvCxnSpPr>
          <p:cNvPr id="51" name=""/>
          <p:cNvCxnSpPr/>
          <p:nvPr/>
        </p:nvCxnSpPr>
        <p:spPr>
          <a:xfrm rot="5400000" flipH="1" flipV="1">
            <a:off x="6516216" y="2276872"/>
            <a:ext cx="864096" cy="57606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9"/>
          <p:cNvSpPr txBox="1"/>
          <p:nvPr/>
        </p:nvSpPr>
        <p:spPr>
          <a:xfrm>
            <a:off x="7092280" y="2450881"/>
            <a:ext cx="1512168" cy="261839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HttpURLConnection</a:t>
            </a:r>
            <a:endParaRPr xmlns:mc="http://schemas.openxmlformats.org/markup-compatibility/2006" xmlns:hp="http://schemas.haansoft.com/office/presentation/8.0" kumimoji="0" lang="ko-KR" altLang="en-US" sz="1100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pic>
        <p:nvPicPr>
          <p:cNvPr id="54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2843808" y="5229200"/>
            <a:ext cx="720080" cy="720080"/>
          </a:xfrm>
          <a:prstGeom prst="rect">
            <a:avLst/>
          </a:prstGeom>
        </p:spPr>
      </p:pic>
      <p:pic>
        <p:nvPicPr>
          <p:cNvPr id="55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3820150" y="5157192"/>
            <a:ext cx="967873" cy="820127"/>
          </a:xfrm>
          <a:prstGeom prst="rect">
            <a:avLst/>
          </a:prstGeom>
        </p:spPr>
      </p:pic>
      <p:cxnSp>
        <p:nvCxnSpPr>
          <p:cNvPr id="56" name=""/>
          <p:cNvCxnSpPr/>
          <p:nvPr/>
        </p:nvCxnSpPr>
        <p:spPr>
          <a:xfrm rot="10800000" flipV="1">
            <a:off x="7740352" y="4725144"/>
            <a:ext cx="576064" cy="504056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sp>
        <p:nvSpPr>
          <p:cNvPr id="57" name=""/>
          <p:cNvSpPr/>
          <p:nvPr/>
        </p:nvSpPr>
        <p:spPr>
          <a:xfrm>
            <a:off x="6372200" y="5373216"/>
            <a:ext cx="1224136" cy="360040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JSONToInfo</a:t>
            </a:r>
            <a:endParaRPr xmlns:mc="http://schemas.openxmlformats.org/markup-compatibility/2006" xmlns:hp="http://schemas.haansoft.com/office/presentation/8.0" kumimoji="0" lang="en-US" altLang="ko-KR" sz="14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  <p:cxnSp>
        <p:nvCxnSpPr>
          <p:cNvPr id="59" name=""/>
          <p:cNvCxnSpPr>
            <a:stCxn id="18" idx="3"/>
            <a:endCxn id="21" idx="3"/>
          </p:cNvCxnSpPr>
          <p:nvPr/>
        </p:nvCxnSpPr>
        <p:spPr>
          <a:xfrm>
            <a:off x="5580112" y="1664804"/>
            <a:ext cx="72008" cy="843920"/>
          </a:xfrm>
          <a:prstGeom prst="bentConnector3">
            <a:avLst>
              <a:gd name="adj1" fmla="val 295754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"/>
          <p:cNvCxnSpPr/>
          <p:nvPr/>
        </p:nvCxnSpPr>
        <p:spPr>
          <a:xfrm rot="10800000">
            <a:off x="5076056" y="5589240"/>
            <a:ext cx="936104" cy="0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</p:spTree>
    <p:extLst>
      <p:ext uri="{BB962C8B-B14F-4D97-AF65-F5344CB8AC3E}">
        <p14:creationId xmlns:p14="http://schemas.microsoft.com/office/powerpoint/2010/main" val="2465585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-5718" y="0"/>
            <a:ext cx="9144000" cy="476672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15" name="TextBox 9"/>
          <p:cNvSpPr txBox="1"/>
          <p:nvPr/>
        </p:nvSpPr>
        <p:spPr>
          <a:xfrm>
            <a:off x="107504" y="545674"/>
            <a:ext cx="2664296" cy="366821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 :: </a:t>
            </a:r>
            <a:r>
              <a:rPr xmlns:mc="http://schemas.openxmlformats.org/markup-compatibility/2006" xmlns:hp="http://schemas.haansoft.com/office/presentation/8.0" kumimoji="0" lang="ko-KR" altLang="en-US" b="0" i="0" u="none" strike="noStrike" kern="1200" cap="none" spc="0" normalizeH="0" baseline="0" mc:Ignorable="hp" hp:hslEmbossed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일정</a:t>
            </a:r>
            <a:endParaRPr xmlns:mc="http://schemas.openxmlformats.org/markup-compatibility/2006" xmlns:hp="http://schemas.haansoft.com/office/presentation/8.0" kumimoji="0" lang="ko-KR" altLang="en-US" b="0" i="0" u="none" strike="noStrike" kern="1200" cap="none" spc="0" normalizeH="0" baseline="0" mc:Ignorable="hp" hp:hslEmbossed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graphicFrame>
        <p:nvGraphicFramePr>
          <p:cNvPr id="63" name=""/>
          <p:cNvGraphicFramePr>
            <a:graphicFrameLocks noGrp="1"/>
          </p:cNvGraphicFramePr>
          <p:nvPr/>
        </p:nvGraphicFramePr>
        <p:xfrm>
          <a:off x="1496526" y="1293083"/>
          <a:ext cx="6099810" cy="4631055"/>
        </p:xfrm>
        <a:graphic>
          <a:graphicData uri="http://schemas.openxmlformats.org/drawingml/2006/table">
            <a:tbl>
              <a:tblPr firstRow="1" bandRow="1">
                <a:tableStyleId>{58739C0C-AB16-40ED-8C5A-176A687DF9E4}</a:tableStyleId>
              </a:tblPr>
              <a:tblGrid>
                <a:gridCol w="868680"/>
                <a:gridCol w="868680"/>
                <a:gridCol w="868680"/>
                <a:gridCol w="878205"/>
                <a:gridCol w="878205"/>
                <a:gridCol w="868680"/>
                <a:gridCol w="868680"/>
              </a:tblGrid>
              <a:tr h="3019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ko-KR" altLang="en-US" sz="1100"/>
                        <a:t>팀 구성</a:t>
                      </a:r>
                      <a:endParaRPr lang="ko-KR" altLang="en-US" sz="1100"/>
                    </a:p>
                    <a:p>
                      <a:pPr lvl="0">
                        <a:defRPr/>
                      </a:pPr>
                      <a:r>
                        <a:rPr lang="ko-KR" altLang="en-US" sz="1100"/>
                        <a:t>주제 선정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Git </a:t>
                      </a:r>
                      <a:r>
                        <a:rPr lang="ko-KR" altLang="en-US" sz="1100"/>
                        <a:t>환경 구성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ko-KR" altLang="en-US" sz="1100"/>
                        <a:t>개발 환경 구성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ko-KR" altLang="en-US" sz="1100"/>
                        <a:t>모듈 코딩</a:t>
                      </a:r>
                      <a:endParaRPr lang="ko-KR" altLang="en-US" sz="1100"/>
                    </a:p>
                    <a:p>
                      <a:pPr lvl="0">
                        <a:defRPr/>
                      </a:pPr>
                      <a:r>
                        <a:rPr lang="ko-KR" altLang="en-US" sz="1100"/>
                        <a:t>모듈 조립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ko-KR" altLang="en-US" sz="1100"/>
                        <a:t>테스트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ko-KR" altLang="en-US" sz="1100"/>
                        <a:t>발표</a:t>
                      </a:r>
                      <a:endParaRPr lang="ko-KR" altLang="en-US" sz="1100"/>
                    </a:p>
                  </a:txBody>
                  <a:tcPr marL="91440" marR="91440"/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1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2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3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b2dbe6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4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5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6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7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8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9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10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11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12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13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</a:tr>
              <a:tr h="18687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14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</a:tr>
              <a:tr h="250196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15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</a:tr>
              <a:tr h="262890"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r>
                        <a:rPr lang="en-US" altLang="ko-KR" sz="1100"/>
                        <a:t>16</a:t>
                      </a:r>
                      <a:r>
                        <a:rPr lang="ko-KR" altLang="en-US" sz="1100"/>
                        <a:t>주차</a:t>
                      </a: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/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d8edf3"/>
                    </a:solidFill>
                  </a:tcPr>
                </a:tc>
                <a:tc>
                  <a:txBody>
                    <a:bodyPr vert="horz" wrap="square" lIns="91440" tIns="45720" rIns="91440" bIns="45720" anchor="t" anchorCtr="0">
                      <a:spAutoFit/>
                    </a:bodyPr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 marL="91440" marR="91440">
                    <a:solidFill>
                      <a:srgbClr val="ff843a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9031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7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-5718" y="0"/>
            <a:ext cx="9144000" cy="476672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Picture 8" descr="Sun icon"/>
          <p:cNvPicPr>
            <a:picLocks noChangeAspect="1" noChangeArrowheads="1"/>
          </p:cNvPicPr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2119164" y="4294748"/>
            <a:ext cx="914400" cy="914401"/>
          </a:xfrm>
          <a:prstGeom prst="rect">
            <a:avLst/>
          </a:prstGeom>
          <a:noFill/>
        </p:spPr>
      </p:pic>
      <p:pic>
        <p:nvPicPr>
          <p:cNvPr id="5" name="Picture 10" descr="Rainbow icon"/>
          <p:cNvPicPr>
            <a:picLocks noChangeAspect="1" noChangeArrowheads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3400770" y="4294749"/>
            <a:ext cx="914400" cy="914401"/>
          </a:xfrm>
          <a:prstGeom prst="rect">
            <a:avLst/>
          </a:prstGeom>
          <a:noFill/>
        </p:spPr>
      </p:pic>
      <p:pic>
        <p:nvPicPr>
          <p:cNvPr id="6" name="Picture 12" descr="Moon and Sun icon"/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5918137" y="4319706"/>
            <a:ext cx="914400" cy="914401"/>
          </a:xfrm>
          <a:prstGeom prst="rect">
            <a:avLst/>
          </a:prstGeom>
          <a:noFill/>
        </p:spPr>
      </p:pic>
      <p:pic>
        <p:nvPicPr>
          <p:cNvPr id="7" name="Picture 14" descr="Moon and Stars icon"/>
          <p:cNvPicPr>
            <a:picLocks noChangeAspect="1" noChangeArrowheads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4697023" y="4293096"/>
            <a:ext cx="914400" cy="914401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613822" y="1832640"/>
            <a:ext cx="7904919" cy="13087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ko-KR" altLang="en-US" sz="8000">
                <a:solidFill>
                  <a:srgbClr val="002060"/>
                </a:solidFill>
                <a:latin typeface="배달의민족 주아 OTF"/>
                <a:ea typeface="배달의민족 주아 OTF"/>
              </a:rPr>
              <a:t>감사합니다</a:t>
            </a:r>
            <a:endParaRPr lang="en-US" altLang="ko-KR" sz="800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</p:spTree>
    <p:extLst>
      <p:ext uri="{BB962C8B-B14F-4D97-AF65-F5344CB8AC3E}">
        <p14:creationId xmlns:p14="http://schemas.microsoft.com/office/powerpoint/2010/main" val="244341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BftLpu.EG0iEXotD1_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Xe34r6zkCu3cZBZ3ON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V_69yCd0GPU7OYtw5Z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c.ZhG.8UmN0hlP0KlL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42AgfVkUWQECVA7BIS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nxA2TsCEG5TIf9ZmrH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jyUOvpFU23YScgcME8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E.HKpWE6wh6UbTGye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67hrec10a04durKSVCUA"/>
</p:tagLst>
</file>

<file path=ppt/theme/theme1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ep:Properties xmlns:r="http://schemas.openxmlformats.org/officeDocument/2006/relationships" xmlns:ep="http://schemas.openxmlformats.org/officeDocument/2006/extended-properties" xmlns:vt="http://schemas.openxmlformats.org/officeDocument/2006/docPropsVTypes">
  <ep:Manager/>
  <ep:Company/>
  <ep:Words>56</ep:Words>
  <ep:PresentationFormat>화면 슬라이드 쇼(4:3)</ep:PresentationFormat>
  <ep:Paragraphs>54</ep:Paragraphs>
  <ep:Slides>7</ep:Slides>
  <ep:Notes>0</ep:Notes>
  <ep:TotalTime>0</ep:TotalTime>
  <ep:HiddenSlides>0</ep:HiddenSlides>
  <ep:MMClips>0</ep:MMClips>
  <ep: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7</vt:i4>
      </vt:variant>
    </vt:vector>
  </ep:HeadingPairs>
  <ep:TitlesOfParts>
    <vt:vector size="8" baseType="lpstr">
      <vt:lpstr>Office 테마</vt:lpstr>
      <vt:lpstr>슬라이드 1</vt:lpstr>
      <vt:lpstr>슬라이드 2</vt:lpstr>
      <vt:lpstr>슬라이드 3</vt:lpstr>
      <vt:lpstr>슬라이드 4</vt:lpstr>
      <vt:lpstr>슬라이드 5</vt:lpstr>
      <vt:lpstr>슬라이드 6</vt:lpstr>
      <vt:lpstr>슬라이드 7</vt:lpstr>
    </vt:vector>
  </ep:TitlesOfParts>
  <ep:HyperlinkBase/>
  <ep:Application>Show</ep:Application>
  <ep:AppVersion>12.0000</ep:AppVersion>
</ep:Properties>
</file>

<file path=docProps/core.xml><?xml version="1.0" encoding="utf-8"?>
<cp:coreProperties xmlns:r="http://schemas.openxmlformats.org/officeDocument/2006/relationships"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0-02-05T03:42:23.000</dcterms:created>
  <dc:creator>최서원</dc:creator>
  <cp:lastModifiedBy>eziki</cp:lastModifiedBy>
  <dcterms:modified xsi:type="dcterms:W3CDTF">2023-03-15T04:08:57.030</dcterms:modified>
  <cp:revision>76</cp:revision>
  <dc:title>PowerPoint 프레젠테이션</dc:title>
  <cp:version/>
</cp:coreProperties>
</file>

<file path=docProps/custom.xml><?xml version="1.0" encoding="utf-8"?>
<cfp:Properties xmlns:r="http://schemas.openxmlformats.org/officeDocument/2006/relationships" xmlns:cfp="http://schemas.openxmlformats.org/officeDocument/2006/custom-properties" xmlns:vt="http://schemas.openxmlformats.org/officeDocument/2006/docPropsVTypes"/>
</file>